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</p:sldMasterIdLst>
  <p:notesMasterIdLst>
    <p:notesMasterId r:id="rId11"/>
  </p:notesMasterIdLst>
  <p:handoutMasterIdLst>
    <p:handoutMasterId r:id="rId12"/>
  </p:handoutMasterIdLst>
  <p:sldIdLst>
    <p:sldId id="257" r:id="rId5"/>
    <p:sldId id="256" r:id="rId6"/>
    <p:sldId id="258" r:id="rId7"/>
    <p:sldId id="259" r:id="rId8"/>
    <p:sldId id="261" r:id="rId9"/>
    <p:sldId id="260" r:id="rId10"/>
  </p:sldIdLst>
  <p:sldSz cx="12192000" cy="6858000"/>
  <p:notesSz cx="6858000" cy="9144000"/>
  <p:custDataLst>
    <p:tags r:id="rId1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817EA92-75D0-4044-A80A-286907CE0DDB}">
  <a:tblStyle styleId="{0817EA92-75D0-4044-A80A-286907CE0DDB}" styleName="Keysight 2022 Table Style">
    <a:wholeTbl>
      <a:tcTxStyle>
        <a:fontRef idx="minor">
          <a:prstClr val="black"/>
        </a:fontRef>
        <a:schemeClr val="dk1"/>
      </a:tcTxStyle>
      <a:tcStyle>
        <a:tcBdr>
          <a:left>
            <a:ln w="6350" cmpd="sng">
              <a:solidFill>
                <a:schemeClr val="lt1"/>
              </a:solidFill>
            </a:ln>
          </a:left>
          <a:right>
            <a:ln w="6350" cmpd="sng">
              <a:solidFill>
                <a:schemeClr val="lt1"/>
              </a:solidFill>
            </a:ln>
          </a:right>
          <a:top>
            <a:ln w="6350" cmpd="sng">
              <a:solidFill>
                <a:schemeClr val="lt1"/>
              </a:solidFill>
            </a:ln>
          </a:top>
          <a:bottom>
            <a:ln w="6350" cmpd="sng">
              <a:solidFill>
                <a:schemeClr val="lt1"/>
              </a:solidFill>
            </a:ln>
          </a:bottom>
          <a:insideH>
            <a:ln w="6350" cmpd="sng">
              <a:solidFill>
                <a:schemeClr val="lt1"/>
              </a:solidFill>
            </a:ln>
          </a:insideH>
          <a:insideV>
            <a:ln w="6350" cmpd="sng">
              <a:solidFill>
                <a:schemeClr val="lt1"/>
              </a:solidFill>
            </a:ln>
          </a:insideV>
        </a:tcBdr>
      </a:tcStyle>
    </a:wholeTbl>
    <a:band1H>
      <a:tcStyle>
        <a:tcBdr/>
        <a:fill>
          <a:solidFill>
            <a:schemeClr val="bg1">
              <a:lumMod val="85000"/>
            </a:schemeClr>
          </a:solidFill>
        </a:fill>
      </a:tcStyle>
    </a:band1H>
    <a:band2H>
      <a:tcStyle>
        <a:tcBdr/>
        <a:fill>
          <a:solidFill>
            <a:schemeClr val="bg1">
              <a:lumMod val="95000"/>
            </a:schemeClr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/>
      <a:tcStyle>
        <a:tcBdr/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tx1">
              <a:lumMod val="75000"/>
              <a:lumOff val="25000"/>
            </a:schemeClr>
          </a:solidFill>
        </a:fill>
      </a:tcStyle>
    </a:firstCol>
    <a:lastRow>
      <a:tcTxStyle b="on">
        <a:fontRef idx="minor">
          <a:prstClr val="black"/>
        </a:fontRef>
        <a:schemeClr val="accent1"/>
      </a:tcTxStyle>
      <a:tcStyle>
        <a:tcBdr/>
        <a:fill>
          <a:solidFill>
            <a:schemeClr val="l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solidFill>
            <a:schemeClr val="l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40" autoAdjust="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5811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CA588D-A381-60AE-D853-D5691D4F5E2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© 2022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E908DB-7677-1857-DEA6-9F302FC937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574CB32-5FB6-604A-B382-7DB50076CD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FC20E8A-4323-57FD-8184-63AB60B974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127DB83-2B75-9330-70CC-12CFD26D5B1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4350" y="4400550"/>
            <a:ext cx="58293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6EA29C-8876-8D7D-F044-FDA3D88F9B8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t>© 2022 Keysight Technologies and/or its affiliates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496329-4CF8-843D-6667-5407F1AF35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158C261-0144-294D-993A-A2B9FCF6D2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ts val="400"/>
      </a:spcBef>
      <a:spcAft>
        <a:spcPct val="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indent="-13652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3050" indent="-13652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163" indent="-13652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7688" indent="-13652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2C5B2393-3FF9-88AD-37CD-FBA6BB21CF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5261C7FF-8BC3-25DC-F421-F8C1B0AE6F32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449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DD35A9-F531-13CD-E57F-1E6C11E1DD17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5F5FBE2-A117-0261-F482-07B7BCA196F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7B8331C-FA36-F748-3809-C1CE12C4349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139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AR Bulle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AB10A-2D9E-D86B-8AF9-6292688C2547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B246A36-1E77-799B-ECBB-8CB3D5D793B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4" name="TextBox 5">
            <a:extLst>
              <a:ext uri="{FF2B5EF4-FFF2-40B4-BE49-F238E27FC236}">
                <a16:creationId xmlns:a16="http://schemas.microsoft.com/office/drawing/2014/main" id="{0506AE39-641A-E1D4-3E8D-8C11EA93A4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9800" y="6022975"/>
            <a:ext cx="8382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900">
                <a:solidFill>
                  <a:srgbClr val="7F7F7F"/>
                </a:solidFill>
              </a:rPr>
              <a:t>The information contained on this slide is controlled under the International Traffic in Arms Regulations (ITAR). Diversion contrary to U.S. law is prohibited. </a:t>
            </a:r>
            <a:br>
              <a:rPr lang="en-US" altLang="en-US" sz="900">
                <a:solidFill>
                  <a:srgbClr val="7F7F7F"/>
                </a:solidFill>
              </a:rPr>
            </a:br>
            <a:r>
              <a:rPr lang="en-US" altLang="en-US" sz="900">
                <a:solidFill>
                  <a:srgbClr val="7F7F7F"/>
                </a:solidFill>
              </a:rPr>
              <a:t>U.S. Department of State authorization is required prior to export, re-export, transfer, or retransfer to foreign persons or parties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10DE3C6-A5B5-52B4-441A-D5FD5E04A5A8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197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AR Bulle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D6EAF-5363-2C8B-EEA6-E53DFF2D12A6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5B645A11-2AE6-9469-A8E8-ABE2EDC165D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4" name="TextBox 5">
            <a:extLst>
              <a:ext uri="{FF2B5EF4-FFF2-40B4-BE49-F238E27FC236}">
                <a16:creationId xmlns:a16="http://schemas.microsoft.com/office/drawing/2014/main" id="{49EDD048-919A-789F-3342-951B9163A7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9800" y="6022975"/>
            <a:ext cx="8382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900">
                <a:solidFill>
                  <a:srgbClr val="7F7F7F"/>
                </a:solidFill>
              </a:rPr>
              <a:t>The information contained on this slide is subject to the Export Administration Regulations (EAR). Diversion contrary to U.S. law is prohibited. </a:t>
            </a:r>
            <a:br>
              <a:rPr lang="en-US" altLang="en-US" sz="900">
                <a:solidFill>
                  <a:srgbClr val="7F7F7F"/>
                </a:solidFill>
              </a:rPr>
            </a:br>
            <a:r>
              <a:rPr lang="en-US" altLang="en-US" sz="900">
                <a:solidFill>
                  <a:srgbClr val="7F7F7F"/>
                </a:solidFill>
              </a:rPr>
              <a:t>U.S. Department of Commerce authorization may be required prior to export, re-export, transfer, or retransfer to certain destinations or foreign persons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10526428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4E97362C-F15F-3CDD-B22F-1F5C5FABDCA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41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4CB6305E-76C3-2E4E-E372-EF9CD5E677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850392" y="376346"/>
            <a:ext cx="9553902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FCF11FD-1511-793A-DE03-73648ED9E4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134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Wav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8D254158-6D23-CC66-7F98-05A26ADCA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851802" y="376346"/>
            <a:ext cx="9555480" cy="13255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FD72FF1F-42A6-70A4-7B74-823B546739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774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AR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4C232484-0514-6ADD-6018-492380CE8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B268915-6644-92E5-2B81-BCA768762270}"/>
              </a:ext>
            </a:extLst>
          </p:cNvPr>
          <p:cNvSpPr txBox="1">
            <a:spLocks/>
          </p:cNvSpPr>
          <p:nvPr/>
        </p:nvSpPr>
        <p:spPr>
          <a:xfrm>
            <a:off x="852488" y="1905000"/>
            <a:ext cx="9555162" cy="14620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sz="2000" b="0"/>
              <a:t>The information contained on this slide is controlled under the International Traffic in Arms Regulations (ITAR). Diversion contrary to U.S. law is prohibited.</a:t>
            </a:r>
          </a:p>
          <a:p>
            <a:pPr>
              <a:spcBef>
                <a:spcPts val="1800"/>
              </a:spcBef>
              <a:defRPr/>
            </a:pPr>
            <a:r>
              <a:rPr sz="2000" b="0"/>
              <a:t>U.S. Department of State authorization is required prior to export, re-export, transfer, or retransfer to foreign persons or parties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802" y="376346"/>
            <a:ext cx="9555480" cy="1325563"/>
          </a:xfrm>
        </p:spPr>
        <p:txBody>
          <a:bodyPr anchor="b">
            <a:noAutofit/>
          </a:bodyPr>
          <a:lstStyle>
            <a:lvl1pPr>
              <a:defRPr sz="4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4050DB91-4221-4499-1B7C-CBFC045C0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004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AR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AA47FC29-0C84-F107-9AAE-629385D96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338A979-D0BA-2EE6-ECEB-1D3003381FF2}"/>
              </a:ext>
            </a:extLst>
          </p:cNvPr>
          <p:cNvSpPr txBox="1">
            <a:spLocks/>
          </p:cNvSpPr>
          <p:nvPr/>
        </p:nvSpPr>
        <p:spPr>
          <a:xfrm>
            <a:off x="852488" y="1905000"/>
            <a:ext cx="9555162" cy="14620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0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sz="2000" b="0"/>
              <a:t>The information contained on this slide is subject to the Export Administration Regulations (EAR). Diversion contrary to U.S. law is prohibited.</a:t>
            </a:r>
          </a:p>
          <a:p>
            <a:pPr>
              <a:spcBef>
                <a:spcPts val="1800"/>
              </a:spcBef>
              <a:defRPr/>
            </a:pPr>
            <a:r>
              <a:rPr sz="2000" b="0"/>
              <a:t>U.S. Department of Commerce authorization may be required prior to export, re-export, transfer, or retransfer to certain destinations or foreign persons.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51802" y="376346"/>
            <a:ext cx="9555480" cy="1325563"/>
          </a:xfrm>
        </p:spPr>
        <p:txBody>
          <a:bodyPr anchor="b">
            <a:noAutofit/>
          </a:bodyPr>
          <a:lstStyle>
            <a:lvl1pPr>
              <a:defRPr sz="4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A37E372C-EA82-243A-FE90-CECDD2521C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274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56730D43-5932-AE94-9FC5-51812E57468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34"/>
          </p:nvPr>
        </p:nvSpPr>
        <p:spPr>
          <a:xfrm>
            <a:off x="694944" y="1957388"/>
            <a:ext cx="10643616" cy="3785616"/>
          </a:xfrm>
          <a:prstGeom prst="rect">
            <a:avLst/>
          </a:prstGeom>
        </p:spPr>
        <p:txBody>
          <a:bodyPr lIns="0"/>
          <a:lstStyle>
            <a:lvl1pPr marL="182880" indent="-182880"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>
              <a:defRPr lang="en-US" sz="18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>
              <a:defRPr lang="en-US" sz="1600" kern="1200" spc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>
              <a:defRPr lang="en-US" sz="1400" b="0" kern="1200" cap="none" spc="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58B0D9C8-F3F4-1CC6-094A-41846DBCEDCE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03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Phot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C05CB7C-AB1F-3B12-2CC9-808B89EACCA9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E338552-8254-484D-00FC-CF552BEC192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9A4917B-129F-883D-AD04-A2C95043EF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242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Divider Phot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s 5">
            <a:extLst>
              <a:ext uri="{FF2B5EF4-FFF2-40B4-BE49-F238E27FC236}">
                <a16:creationId xmlns:a16="http://schemas.microsoft.com/office/drawing/2014/main" id="{51B61D02-781F-A9C8-CB25-1D3C78D5173B}"/>
              </a:ext>
            </a:extLst>
          </p:cNvPr>
          <p:cNvSpPr/>
          <p:nvPr/>
        </p:nvSpPr>
        <p:spPr>
          <a:xfrm>
            <a:off x="9220200" y="0"/>
            <a:ext cx="29718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2D2AE97-1F6D-21CC-E229-0AF2B8AE74EE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966C638A-2338-E29C-DB5E-B98C9A1C611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152899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79592" y="3968802"/>
            <a:ext cx="4173855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79592" y="2844389"/>
            <a:ext cx="4173855" cy="58461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67B93B0C-8FD7-0073-460C-AD0E24E29EB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37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AB186722-836E-69D5-BB9A-820DD2941A7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4944" y="1956816"/>
            <a:ext cx="10640085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BECE28-30E7-2ABD-7C2B-84D807B84F6C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289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9262E45-06B6-6A92-426C-9DDFE977EE72}"/>
              </a:ext>
            </a:extLst>
          </p:cNvPr>
          <p:cNvCxnSpPr>
            <a:cxnSpLocks/>
          </p:cNvCxnSpPr>
          <p:nvPr/>
        </p:nvCxnSpPr>
        <p:spPr>
          <a:xfrm>
            <a:off x="1736725" y="3857625"/>
            <a:ext cx="3287713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9F8BF04-455B-FC53-0738-09599AF8F676}"/>
              </a:ext>
            </a:extLst>
          </p:cNvPr>
          <p:cNvCxnSpPr>
            <a:cxnSpLocks/>
          </p:cNvCxnSpPr>
          <p:nvPr/>
        </p:nvCxnSpPr>
        <p:spPr>
          <a:xfrm>
            <a:off x="8058150" y="3857625"/>
            <a:ext cx="3287713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4FC30F76-A617-D3E7-A5BF-80DF771A458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9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51339" y="3998913"/>
            <a:ext cx="884764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7"/>
          <p:cNvSpPr>
            <a:spLocks noGrp="1"/>
          </p:cNvSpPr>
          <p:nvPr>
            <p:ph type="body" sz="quarter" idx="18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9"/>
          <p:cNvSpPr>
            <a:spLocks noGrp="1"/>
          </p:cNvSpPr>
          <p:nvPr>
            <p:ph type="body" sz="quarter" idx="20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919EE529-279B-5223-065F-0B2909BA29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51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CAEBE51-4A99-B51A-F2DC-FD40AE627BAD}"/>
              </a:ext>
            </a:extLst>
          </p:cNvPr>
          <p:cNvCxnSpPr>
            <a:cxnSpLocks/>
          </p:cNvCxnSpPr>
          <p:nvPr/>
        </p:nvCxnSpPr>
        <p:spPr>
          <a:xfrm>
            <a:off x="1736725" y="3857625"/>
            <a:ext cx="3287713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995C46E-EF09-8A4D-FFBB-3244664A5FDB}"/>
              </a:ext>
            </a:extLst>
          </p:cNvPr>
          <p:cNvCxnSpPr>
            <a:cxnSpLocks/>
          </p:cNvCxnSpPr>
          <p:nvPr/>
        </p:nvCxnSpPr>
        <p:spPr>
          <a:xfrm>
            <a:off x="8058150" y="3857625"/>
            <a:ext cx="3287713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E934F78-66C7-08FF-F243-4E28EA3F3F0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1337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7172960" y="1043771"/>
            <a:ext cx="4152899" cy="2750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1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51339" y="3998913"/>
            <a:ext cx="884764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None/>
              <a:defRPr sz="4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736103" y="3998913"/>
            <a:ext cx="2383369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9"/>
          <p:cNvSpPr>
            <a:spLocks noGrp="1"/>
          </p:cNvSpPr>
          <p:nvPr>
            <p:ph type="body" sz="quarter" idx="17"/>
          </p:nvPr>
        </p:nvSpPr>
        <p:spPr>
          <a:xfrm>
            <a:off x="851337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7"/>
          <p:cNvSpPr>
            <a:spLocks noGrp="1"/>
          </p:cNvSpPr>
          <p:nvPr>
            <p:ph type="body" sz="quarter" idx="18"/>
          </p:nvPr>
        </p:nvSpPr>
        <p:spPr>
          <a:xfrm>
            <a:off x="7172962" y="3998913"/>
            <a:ext cx="884763" cy="790575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057725" y="3998913"/>
            <a:ext cx="2383370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20"/>
          </p:nvPr>
        </p:nvSpPr>
        <p:spPr>
          <a:xfrm>
            <a:off x="7172960" y="4806729"/>
            <a:ext cx="3268133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 typeface="+mj-lt"/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54CD0B84-ACD7-AB9D-4A31-B9CAF370138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3508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280BED5-3609-03E6-A226-0F71C784FD4A}"/>
              </a:ext>
            </a:extLst>
          </p:cNvPr>
          <p:cNvCxnSpPr>
            <a:cxnSpLocks/>
          </p:cNvCxnSpPr>
          <p:nvPr/>
        </p:nvCxnSpPr>
        <p:spPr>
          <a:xfrm>
            <a:off x="1616075" y="3484563"/>
            <a:ext cx="1539875" cy="0"/>
          </a:xfrm>
          <a:prstGeom prst="line">
            <a:avLst/>
          </a:prstGeom>
          <a:ln w="1016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581CB78-4B09-8D30-03BC-042FD4B22CA9}"/>
              </a:ext>
            </a:extLst>
          </p:cNvPr>
          <p:cNvCxnSpPr>
            <a:cxnSpLocks/>
          </p:cNvCxnSpPr>
          <p:nvPr/>
        </p:nvCxnSpPr>
        <p:spPr>
          <a:xfrm>
            <a:off x="4349750" y="3484563"/>
            <a:ext cx="1538288" cy="0"/>
          </a:xfrm>
          <a:prstGeom prst="line">
            <a:avLst/>
          </a:prstGeom>
          <a:ln w="1016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A334317-4DEE-0C2C-46E1-F00B67952BD5}"/>
              </a:ext>
            </a:extLst>
          </p:cNvPr>
          <p:cNvCxnSpPr>
            <a:cxnSpLocks/>
          </p:cNvCxnSpPr>
          <p:nvPr/>
        </p:nvCxnSpPr>
        <p:spPr>
          <a:xfrm>
            <a:off x="7086600" y="3484563"/>
            <a:ext cx="1539875" cy="0"/>
          </a:xfrm>
          <a:prstGeom prst="line">
            <a:avLst/>
          </a:prstGeom>
          <a:ln w="1016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9B7F78-9F8B-B9B8-0572-6056AB1A8835}"/>
              </a:ext>
            </a:extLst>
          </p:cNvPr>
          <p:cNvCxnSpPr>
            <a:cxnSpLocks/>
          </p:cNvCxnSpPr>
          <p:nvPr/>
        </p:nvCxnSpPr>
        <p:spPr>
          <a:xfrm>
            <a:off x="9820275" y="3484563"/>
            <a:ext cx="1539875" cy="0"/>
          </a:xfrm>
          <a:prstGeom prst="line">
            <a:avLst/>
          </a:prstGeom>
          <a:ln w="1016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10DE7646-A782-F368-FF26-D04B2B08218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31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861586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1645176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7"/>
          <p:cNvSpPr>
            <a:spLocks noGrp="1"/>
          </p:cNvSpPr>
          <p:nvPr>
            <p:ph type="body" sz="quarter" idx="17"/>
          </p:nvPr>
        </p:nvSpPr>
        <p:spPr>
          <a:xfrm>
            <a:off x="359375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4377344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587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93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37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170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375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7"/>
          <p:cNvSpPr>
            <a:spLocks noGrp="1"/>
          </p:cNvSpPr>
          <p:nvPr>
            <p:ph type="body" sz="quarter" idx="24"/>
          </p:nvPr>
        </p:nvSpPr>
        <p:spPr>
          <a:xfrm>
            <a:off x="6328622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7112212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2862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7"/>
          <p:cNvSpPr>
            <a:spLocks noGrp="1"/>
          </p:cNvSpPr>
          <p:nvPr>
            <p:ph type="body" sz="quarter" idx="27"/>
          </p:nvPr>
        </p:nvSpPr>
        <p:spPr>
          <a:xfrm>
            <a:off x="9061704" y="3699630"/>
            <a:ext cx="755658" cy="790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4000" b="1" i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848088" y="3708861"/>
            <a:ext cx="1511324" cy="790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170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ACA211D0-BA75-05F2-CA3C-5D70325CE1D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4220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0FCED8C-48AB-C1D8-9EA5-5D4F65DAB0D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858544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3593592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9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6496" y="4523164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6327296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2981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063128" y="3708861"/>
            <a:ext cx="2297430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969F22E0-2357-ACF6-E781-44FE16D5A68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9834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 red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s 5">
            <a:extLst>
              <a:ext uri="{FF2B5EF4-FFF2-40B4-BE49-F238E27FC236}">
                <a16:creationId xmlns:a16="http://schemas.microsoft.com/office/drawing/2014/main" id="{070AB04B-3561-D91D-EF48-CC7CAD64B512}"/>
              </a:ext>
            </a:extLst>
          </p:cNvPr>
          <p:cNvSpPr/>
          <p:nvPr/>
        </p:nvSpPr>
        <p:spPr>
          <a:xfrm>
            <a:off x="7131050" y="0"/>
            <a:ext cx="50736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8299143-D32E-1F46-111F-C4581FA1FD4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5356225" y="1484313"/>
            <a:ext cx="6835775" cy="385921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6"/>
          </p:nvPr>
        </p:nvSpPr>
        <p:spPr>
          <a:xfrm>
            <a:off x="853440" y="2745308"/>
            <a:ext cx="3676650" cy="13673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6309083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6303903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978B024-38DD-893D-A6BB-E0E8FB7E6462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4547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con&#10;&#10;Description automatically generated">
            <a:extLst>
              <a:ext uri="{FF2B5EF4-FFF2-40B4-BE49-F238E27FC236}">
                <a16:creationId xmlns:a16="http://schemas.microsoft.com/office/drawing/2014/main" id="{A68A2412-AC7E-FE30-B216-6A77301B9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17943F83-72D4-7011-F269-7591A6DBB0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431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3EAFED08-D384-5061-06E6-B331B1BBC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88160" y="2514282"/>
            <a:ext cx="8615680" cy="1420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034631" y="4291919"/>
            <a:ext cx="4122738" cy="377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56C1E0F-A7E7-787C-E54A-158542803EF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4025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2">
            <a:extLst>
              <a:ext uri="{FF2B5EF4-FFF2-40B4-BE49-F238E27FC236}">
                <a16:creationId xmlns:a16="http://schemas.microsoft.com/office/drawing/2014/main" id="{BC4D5C10-F6B5-09FB-45C1-4565D751F0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807" r="38275" b="6113"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2E9652F4-30DF-0CF1-5AEC-F1E44CB658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213" y="6462713"/>
            <a:ext cx="923925" cy="161925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94944" y="1436687"/>
            <a:ext cx="8629651" cy="362105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54AB228-E226-7CC8-EE3D-9B4C624B44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963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quote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7152F9D0-D846-228F-FFD5-56655D12E4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213" y="6462713"/>
            <a:ext cx="923925" cy="161925"/>
          </a:xfrm>
          <a:prstGeom prst="rect">
            <a:avLst/>
          </a:prstGeom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2D8CE43B-3AD4-05D8-3CEE-8D6B90E80F0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807" r="38275" b="6113"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92464" y="5243477"/>
            <a:ext cx="8414328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94944" y="1435607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7938" indent="-7938">
              <a:lnSpc>
                <a:spcPct val="100000"/>
              </a:lnSpc>
              <a:buNone/>
              <a:tabLst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1F7E28C1-4E54-ED1C-5B60-548BF9B3675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1459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2">
            <a:extLst>
              <a:ext uri="{FF2B5EF4-FFF2-40B4-BE49-F238E27FC236}">
                <a16:creationId xmlns:a16="http://schemas.microsoft.com/office/drawing/2014/main" id="{3AF67DB3-ED44-B65B-B3F1-88EC24FF9B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807" r="38275" b="6113"/>
          <a:stretch/>
        </p:blipFill>
        <p:spPr>
          <a:xfrm>
            <a:off x="9050338" y="962025"/>
            <a:ext cx="3141662" cy="5895975"/>
          </a:xfrm>
          <a:prstGeom prst="rect">
            <a:avLst/>
          </a:prstGeom>
        </p:spPr>
      </p:pic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A9BFC858-4C47-8971-A275-6791349D27D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94944" y="5243477"/>
            <a:ext cx="8412480" cy="7080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94944" y="1435608"/>
            <a:ext cx="8629651" cy="362102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C3FED0F-F31C-62D2-6876-997A96C415D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379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D84D63C0-085C-683A-C0A7-D9F299692FA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5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6096000" y="1956816"/>
            <a:ext cx="46388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A228C385-C0C9-BD03-2619-B796253A3CF9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4689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3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D196510-F708-231F-6E20-CBFC1EF96933}"/>
              </a:ext>
            </a:extLst>
          </p:cNvPr>
          <p:cNvCxnSpPr>
            <a:cxnSpLocks/>
          </p:cNvCxnSpPr>
          <p:nvPr/>
        </p:nvCxnSpPr>
        <p:spPr>
          <a:xfrm>
            <a:off x="0" y="3656013"/>
            <a:ext cx="41735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7879BE4D-847C-9BB2-8A72-CEEFEC132D7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81695" y="39688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7"/>
          <p:cNvSpPr>
            <a:spLocks noGrp="1"/>
          </p:cNvSpPr>
          <p:nvPr>
            <p:ph type="body" sz="quarter" idx="16"/>
          </p:nvPr>
        </p:nvSpPr>
        <p:spPr>
          <a:xfrm>
            <a:off x="7561772" y="52395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37"/>
          <p:cNvSpPr>
            <a:spLocks noGrp="1"/>
          </p:cNvSpPr>
          <p:nvPr>
            <p:ph type="body" sz="quarter" idx="17"/>
          </p:nvPr>
        </p:nvSpPr>
        <p:spPr>
          <a:xfrm>
            <a:off x="7561772" y="3182112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7"/>
          <p:cNvSpPr>
            <a:spLocks noGrp="1"/>
          </p:cNvSpPr>
          <p:nvPr>
            <p:ph type="body" sz="quarter" idx="18"/>
          </p:nvPr>
        </p:nvSpPr>
        <p:spPr>
          <a:xfrm>
            <a:off x="7561772" y="1123761"/>
            <a:ext cx="3792028" cy="76136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7"/>
          <p:cNvSpPr>
            <a:spLocks noGrp="1"/>
          </p:cNvSpPr>
          <p:nvPr>
            <p:ph type="body" sz="quarter" idx="19"/>
          </p:nvPr>
        </p:nvSpPr>
        <p:spPr>
          <a:xfrm>
            <a:off x="7561772" y="4873752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7"/>
          <p:cNvSpPr>
            <a:spLocks noGrp="1"/>
          </p:cNvSpPr>
          <p:nvPr>
            <p:ph type="body" sz="quarter" idx="20"/>
          </p:nvPr>
        </p:nvSpPr>
        <p:spPr>
          <a:xfrm>
            <a:off x="7561772" y="2806875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7"/>
          <p:cNvSpPr>
            <a:spLocks noGrp="1"/>
          </p:cNvSpPr>
          <p:nvPr>
            <p:ph type="body" sz="quarter" idx="21"/>
          </p:nvPr>
        </p:nvSpPr>
        <p:spPr>
          <a:xfrm>
            <a:off x="7561772" y="761167"/>
            <a:ext cx="3792028" cy="28931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87804" y="2982336"/>
            <a:ext cx="3710353" cy="432582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072063" y="761166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5072063" y="2812265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5072063" y="4873752"/>
            <a:ext cx="2255837" cy="11239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939DA796-64E7-FB91-E01E-8ECCDB0AAA6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5841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DAD446A-1E24-9286-B66D-EB1A0D0B373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32" name="Text Placeholder 29"/>
          <p:cNvSpPr>
            <a:spLocks noGrp="1"/>
          </p:cNvSpPr>
          <p:nvPr>
            <p:ph type="body" sz="quarter" idx="16"/>
          </p:nvPr>
        </p:nvSpPr>
        <p:spPr>
          <a:xfrm>
            <a:off x="85854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9"/>
          <p:cNvSpPr>
            <a:spLocks noGrp="1"/>
          </p:cNvSpPr>
          <p:nvPr>
            <p:ph type="body" sz="quarter" idx="18"/>
          </p:nvPr>
        </p:nvSpPr>
        <p:spPr>
          <a:xfrm>
            <a:off x="3593592" y="4028661"/>
            <a:ext cx="2289948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9"/>
          </p:nvPr>
        </p:nvSpPr>
        <p:spPr>
          <a:xfrm>
            <a:off x="861061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/>
          <p:cNvSpPr>
            <a:spLocks noGrp="1"/>
          </p:cNvSpPr>
          <p:nvPr>
            <p:ph type="body" sz="quarter" idx="23"/>
          </p:nvPr>
        </p:nvSpPr>
        <p:spPr>
          <a:xfrm>
            <a:off x="3593592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9"/>
          <p:cNvSpPr>
            <a:spLocks noGrp="1"/>
          </p:cNvSpPr>
          <p:nvPr>
            <p:ph type="body" sz="quarter" idx="25"/>
          </p:nvPr>
        </p:nvSpPr>
        <p:spPr>
          <a:xfrm>
            <a:off x="6328554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9"/>
          <p:cNvSpPr>
            <a:spLocks noGrp="1"/>
          </p:cNvSpPr>
          <p:nvPr>
            <p:ph type="body" sz="quarter" idx="26"/>
          </p:nvPr>
        </p:nvSpPr>
        <p:spPr>
          <a:xfrm>
            <a:off x="6331070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29"/>
          <p:cNvSpPr>
            <a:spLocks noGrp="1"/>
          </p:cNvSpPr>
          <p:nvPr>
            <p:ph type="body" sz="quarter" idx="28"/>
          </p:nvPr>
        </p:nvSpPr>
        <p:spPr>
          <a:xfrm>
            <a:off x="9063128" y="4028661"/>
            <a:ext cx="2297430" cy="4707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9"/>
          <p:cNvSpPr>
            <a:spLocks noGrp="1"/>
          </p:cNvSpPr>
          <p:nvPr>
            <p:ph type="body" sz="quarter" idx="29"/>
          </p:nvPr>
        </p:nvSpPr>
        <p:spPr>
          <a:xfrm>
            <a:off x="9065644" y="4523164"/>
            <a:ext cx="2294914" cy="7905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859406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3593592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21"/>
          </p:nvPr>
        </p:nvSpPr>
        <p:spPr>
          <a:xfrm>
            <a:off x="6328554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063128" y="1895762"/>
            <a:ext cx="2297430" cy="15316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422DCFF-EE03-D676-F370-4F9A7FBA7EF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3097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con&#10;&#10;Description automatically generated">
            <a:extLst>
              <a:ext uri="{FF2B5EF4-FFF2-40B4-BE49-F238E27FC236}">
                <a16:creationId xmlns:a16="http://schemas.microsoft.com/office/drawing/2014/main" id="{FBAA4860-64C3-4767-3FF3-1D1FDA556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4">
            <a:extLst>
              <a:ext uri="{FF2B5EF4-FFF2-40B4-BE49-F238E27FC236}">
                <a16:creationId xmlns:a16="http://schemas.microsoft.com/office/drawing/2014/main" id="{5AA60034-B90F-9901-C822-D1E011A33F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763" y="2884488"/>
            <a:ext cx="4949825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r>
              <a:rPr lang="en-US" altLang="en-US" sz="7200" b="1">
                <a:solidFill>
                  <a:schemeClr val="bg1"/>
                </a:solidFill>
                <a:latin typeface="Arial Bold"/>
                <a:ea typeface="Arial Bold"/>
                <a:cs typeface="Arial Bold"/>
              </a:rPr>
              <a:t>Thank you</a:t>
            </a:r>
          </a:p>
        </p:txBody>
      </p:sp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D29F5624-1815-D12F-19F5-C2DAA0E6D9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0B17617-4B34-1B96-F8D0-DA83838B3A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4420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6F6B72D1-E8C8-8EEE-AAB0-13C0C56A1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4">
            <a:extLst>
              <a:ext uri="{FF2B5EF4-FFF2-40B4-BE49-F238E27FC236}">
                <a16:creationId xmlns:a16="http://schemas.microsoft.com/office/drawing/2014/main" id="{1AA6E8B8-1127-79AA-6898-B33A79B9E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175" y="2884488"/>
            <a:ext cx="4949825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r>
              <a:rPr lang="en-US" altLang="en-US" sz="7200" b="1">
                <a:solidFill>
                  <a:schemeClr val="accent1"/>
                </a:solidFill>
                <a:latin typeface="Arial Bold"/>
                <a:ea typeface="Arial Bold"/>
                <a:cs typeface="Arial Bold"/>
              </a:rPr>
              <a:t>Thank you</a:t>
            </a:r>
          </a:p>
        </p:txBody>
      </p:sp>
      <p:pic>
        <p:nvPicPr>
          <p:cNvPr id="4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22B09AA6-6FC3-2513-A09C-74F709E7358C}"/>
              </a:ext>
            </a:extLst>
          </p:cNvPr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838200" y="352425"/>
            <a:ext cx="1243013" cy="219075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0BB8183-1F77-04F5-5AD6-50919BDDFE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5208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EBAAD4ED-18AA-A97F-0D8E-D505FE0244C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27CAED91-B193-2A85-82CD-99E0B9289A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394851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893082E2-4423-EF0E-810B-F88914FAD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6400" y="3100388"/>
            <a:ext cx="3759200" cy="657225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862EF63-64B6-8070-88CE-220F885F2B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4146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675F77F-A61E-476C-7FC5-503519FE16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4216400" y="3097213"/>
            <a:ext cx="3759200" cy="663575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215A64FD-693D-C0DD-BF05-60B7425CCC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8346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sight End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FADB9D36-8629-01C5-8536-1F9DFA90DF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6400" y="3100388"/>
            <a:ext cx="3759200" cy="657225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1BDC0EE-A81E-0AD6-AD55-91ABD0A73B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0279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BF5E5E97-4FE9-4AED-1CDD-2D394E21A8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4EAED051-ADCE-50CD-00DD-7A0CCACCB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3100388"/>
            <a:ext cx="3757613" cy="657225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74205B80-E1AE-FB36-D467-C3A8EDCD57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360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847BDC2A-BF7D-F779-A6A0-33AD28C1E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C1253C8C-8159-5C09-DD74-E527370884E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41375" y="3097213"/>
            <a:ext cx="3757613" cy="663575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D6DC900C-CC6E-9C58-6A8F-9430E44D91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252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814329E-E7A4-C1F5-B842-7C8994A7C05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20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105156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3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42672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5"/>
          </p:nvPr>
        </p:nvSpPr>
        <p:spPr>
          <a:xfrm>
            <a:off x="7848600" y="1956816"/>
            <a:ext cx="3152997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71A02DD8-6E03-AB17-FB62-9008C20F9F9A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8215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sight End Wave Grey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picture containing lamp, light&#10;&#10;Description automatically generated">
            <a:extLst>
              <a:ext uri="{FF2B5EF4-FFF2-40B4-BE49-F238E27FC236}">
                <a16:creationId xmlns:a16="http://schemas.microsoft.com/office/drawing/2014/main" id="{0724056F-F794-802C-BFB6-0ED0A5CADF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98990124-896B-154A-DC99-3E338081D0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3100388"/>
            <a:ext cx="3757613" cy="657225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EA01BC5-E61C-4C48-5A18-F378EE2E59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752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s 5">
            <a:extLst>
              <a:ext uri="{FF2B5EF4-FFF2-40B4-BE49-F238E27FC236}">
                <a16:creationId xmlns:a16="http://schemas.microsoft.com/office/drawing/2014/main" id="{91434CA5-8595-3D0D-7FDE-0A805586820D}"/>
              </a:ext>
            </a:extLst>
          </p:cNvPr>
          <p:cNvSpPr/>
          <p:nvPr/>
        </p:nvSpPr>
        <p:spPr>
          <a:xfrm>
            <a:off x="6096000" y="0"/>
            <a:ext cx="60991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F8D0FF87-672F-6279-5C68-845C6DDE314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968752" y="1675588"/>
            <a:ext cx="4379970" cy="403892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685799" y="548640"/>
            <a:ext cx="5184648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5193792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180764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1A5F3DEC-90E8-A722-B4E2-CCD9FCC3B1CE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19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BC6C97E4-4BE0-940C-5F47-FFAB7451AF1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6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5029200" cy="369332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32"/>
          </p:nvPr>
        </p:nvSpPr>
        <p:spPr>
          <a:xfrm>
            <a:off x="685800" y="941832"/>
            <a:ext cx="5029200" cy="39567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95104" y="1676400"/>
            <a:ext cx="5036829" cy="3784600"/>
          </a:xfrm>
          <a:prstGeom prst="rect">
            <a:avLst/>
          </a:prstGeom>
        </p:spPr>
        <p:txBody>
          <a:bodyPr lIns="0"/>
          <a:lstStyle>
            <a:lvl1pPr>
              <a:buClr>
                <a:schemeClr val="tx1">
                  <a:lumMod val="85000"/>
                  <a:lumOff val="15000"/>
                </a:schemeClr>
              </a:buClr>
              <a:defRPr/>
            </a:lvl1pPr>
            <a:lvl2pPr>
              <a:buClr>
                <a:schemeClr val="tx1">
                  <a:lumMod val="85000"/>
                  <a:lumOff val="15000"/>
                </a:schemeClr>
              </a:buClr>
              <a:defRPr/>
            </a:lvl2pPr>
            <a:lvl3pPr>
              <a:buClr>
                <a:schemeClr val="tx1">
                  <a:lumMod val="85000"/>
                  <a:lumOff val="15000"/>
                </a:schemeClr>
              </a:buClr>
              <a:defRPr/>
            </a:lvl3pPr>
            <a:lvl4pPr>
              <a:buClr>
                <a:schemeClr val="tx1">
                  <a:lumMod val="85000"/>
                  <a:lumOff val="15000"/>
                </a:schemeClr>
              </a:buClr>
              <a:defRPr/>
            </a:lvl4pPr>
            <a:lvl5pPr>
              <a:buClr>
                <a:schemeClr val="tx1">
                  <a:lumMod val="85000"/>
                  <a:lumOff val="15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8F76D0F-CAA8-0C58-D5A0-998A7920C061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67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749ACEF-CC3A-0037-2E89-AFC8183491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01A95AB-958D-B97D-869D-F684DAC101C5}"/>
              </a:ext>
            </a:extLst>
          </p:cNvPr>
          <p:cNvCxnSpPr>
            <a:cxnSpLocks/>
          </p:cNvCxnSpPr>
          <p:nvPr/>
        </p:nvCxnSpPr>
        <p:spPr>
          <a:xfrm>
            <a:off x="0" y="3154363"/>
            <a:ext cx="4173538" cy="0"/>
          </a:xfrm>
          <a:prstGeom prst="line">
            <a:avLst/>
          </a:prstGeom>
          <a:ln w="101600">
            <a:solidFill>
              <a:srgbClr val="E900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681695" y="4050302"/>
            <a:ext cx="3710353" cy="1612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9"/>
          <p:cNvSpPr>
            <a:spLocks noGrp="1"/>
          </p:cNvSpPr>
          <p:nvPr>
            <p:ph type="body" sz="quarter" idx="15"/>
          </p:nvPr>
        </p:nvSpPr>
        <p:spPr>
          <a:xfrm>
            <a:off x="687804" y="1999401"/>
            <a:ext cx="3710353" cy="9712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8" name="Text Placeholder 37"/>
          <p:cNvSpPr>
            <a:spLocks noGrp="1"/>
          </p:cNvSpPr>
          <p:nvPr>
            <p:ph type="body" sz="quarter" idx="25"/>
          </p:nvPr>
        </p:nvSpPr>
        <p:spPr>
          <a:xfrm>
            <a:off x="681695" y="3681039"/>
            <a:ext cx="3710353" cy="27042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BBE1FFB-9D76-62FA-0485-88394B3F094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1905000" y="6456363"/>
            <a:ext cx="4114800" cy="153987"/>
          </a:xfrm>
        </p:spPr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1415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icture Placeholder 57"/>
          <p:cNvSpPr>
            <a:spLocks noGrp="1"/>
          </p:cNvSpPr>
          <p:nvPr>
            <p:ph type="pic" sz="quarter" idx="13"/>
          </p:nvPr>
        </p:nvSpPr>
        <p:spPr>
          <a:xfrm>
            <a:off x="0" y="-542"/>
            <a:ext cx="12192000" cy="6858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E0F3BD-F46E-14EA-D8F1-2BBF3CC615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096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C9B63804-905D-5F4B-C249-8950559E0954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9" descr="Frame">
            <a:extLst>
              <a:ext uri="{FF2B5EF4-FFF2-40B4-BE49-F238E27FC236}">
                <a16:creationId xmlns:a16="http://schemas.microsoft.com/office/drawing/2014/main" id="{D11B9FA2-E495-8079-9B07-2EB436898B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58" name="Picture Placeholder 57"/>
          <p:cNvSpPr>
            <a:spLocks noGrp="1"/>
          </p:cNvSpPr>
          <p:nvPr>
            <p:ph type="pic" sz="quarter" idx="13"/>
          </p:nvPr>
        </p:nvSpPr>
        <p:spPr>
          <a:xfrm>
            <a:off x="0" y="-543"/>
            <a:ext cx="12192000" cy="6835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9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AAE9733B-D051-CA0D-A097-EDC439F924D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3077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Frame">
            <a:extLst>
              <a:ext uri="{FF2B5EF4-FFF2-40B4-BE49-F238E27FC236}">
                <a16:creationId xmlns:a16="http://schemas.microsoft.com/office/drawing/2014/main" id="{F262A2DC-368D-AA93-908A-5DC233269E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2D1A9CF-3A68-0E05-04D4-7B8E7F7D9E9B}"/>
              </a:ext>
            </a:extLst>
          </p:cNvPr>
          <p:cNvSpPr/>
          <p:nvPr/>
        </p:nvSpPr>
        <p:spPr>
          <a:xfrm>
            <a:off x="10947400" y="6054725"/>
            <a:ext cx="815975" cy="6048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/>
          </a:p>
        </p:txBody>
      </p:sp>
      <p:sp>
        <p:nvSpPr>
          <p:cNvPr id="14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90FC513-AEB6-92BF-0350-86F1686B641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771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ck with Waterm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BBE56A-FB54-D3EB-6A29-0A5E0B44CF04}"/>
              </a:ext>
            </a:extLst>
          </p:cNvPr>
          <p:cNvSpPr/>
          <p:nvPr/>
        </p:nvSpPr>
        <p:spPr>
          <a:xfrm>
            <a:off x="10947400" y="6054725"/>
            <a:ext cx="815975" cy="6048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F965DD1B-BD56-716F-996D-7815BE35D8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9" descr="Frame">
            <a:extLst>
              <a:ext uri="{FF2B5EF4-FFF2-40B4-BE49-F238E27FC236}">
                <a16:creationId xmlns:a16="http://schemas.microsoft.com/office/drawing/2014/main" id="{C67B9B07-86CD-D520-0540-43B7C52BD7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263" y="352425"/>
            <a:ext cx="1252537" cy="219075"/>
          </a:xfrm>
          <a:prstGeom prst="rect">
            <a:avLst/>
          </a:prstGeom>
        </p:spPr>
      </p:pic>
      <p:sp>
        <p:nvSpPr>
          <p:cNvPr id="14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3" y="5076567"/>
            <a:ext cx="619048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53289" y="3191676"/>
            <a:ext cx="10515600" cy="1325563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old" panose="020B0704020202090204" charset="0"/>
                <a:cs typeface="Arial Bold" panose="020B070402020209020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8DA350B7-CD7F-7A52-9C12-FFEB90239EE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9621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DD35CDC9-0C2D-2440-1875-147DD0277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8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06AC58FA-DF8D-1FE2-8B5E-97F2F0F1D6D1}"/>
              </a:ext>
            </a:extLst>
          </p:cNvPr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838200" y="352425"/>
            <a:ext cx="1243013" cy="219075"/>
          </a:xfrm>
          <a:prstGeom prst="rect">
            <a:avLst/>
          </a:prstGeom>
        </p:spPr>
      </p:pic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851276" y="3191676"/>
            <a:ext cx="10515600" cy="13255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55"/>
          <p:cNvSpPr>
            <a:spLocks noGrp="1"/>
          </p:cNvSpPr>
          <p:nvPr>
            <p:ph type="body" sz="quarter" idx="12"/>
          </p:nvPr>
        </p:nvSpPr>
        <p:spPr>
          <a:xfrm>
            <a:off x="854434" y="5076567"/>
            <a:ext cx="6190428" cy="561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ECAB0150-0EB2-98A2-2A9B-AF49D65C880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algn="ctr">
              <a:defRPr sz="9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93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2F2FB-6CCD-975D-1E9D-76B630B646BB}"/>
              </a:ext>
            </a:extLst>
          </p:cNvPr>
          <p:cNvSpPr txBox="1">
            <a:spLocks/>
          </p:cNvSpPr>
          <p:nvPr/>
        </p:nvSpPr>
        <p:spPr>
          <a:xfrm>
            <a:off x="6096000" y="1876425"/>
            <a:ext cx="5275263" cy="3716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704020202090204" charset="0"/>
                <a:ea typeface="+mj-ea"/>
                <a:cs typeface="Arial Bold" panose="020B0704020202090204" charset="0"/>
              </a:defRPr>
            </a:lvl1pPr>
          </a:lstStyle>
          <a:p>
            <a:pPr>
              <a:lnSpc>
                <a:spcPct val="90000"/>
              </a:lnSpc>
              <a:defRPr/>
            </a:pPr>
            <a:endParaRPr dirty="0">
              <a:ea typeface="+mn-ea"/>
            </a:endParaRPr>
          </a:p>
        </p:txBody>
      </p:sp>
      <p:pic>
        <p:nvPicPr>
          <p:cNvPr id="3" name="Picture 1" descr="/Users/franky/Documents/huge/Keysight/brandin/powerpoint/- Branding/Frame.svgFrame">
            <a:extLst>
              <a:ext uri="{FF2B5EF4-FFF2-40B4-BE49-F238E27FC236}">
                <a16:creationId xmlns:a16="http://schemas.microsoft.com/office/drawing/2014/main" id="{8C74984D-9C81-C4D5-EF43-477DB353B0C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88975" y="6461125"/>
            <a:ext cx="927100" cy="163513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502141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4944" y="1600200"/>
            <a:ext cx="4851659" cy="400875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50000"/>
              </a:lnSpc>
              <a:buNone/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369332"/>
          </a:xfrm>
          <a:prstGeom prst="rect">
            <a:avLst/>
          </a:prstGeom>
        </p:spPr>
        <p:txBody>
          <a:bodyPr rtlCol="0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181E556-5D9C-8288-B064-557607CAE66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720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3">
            <a:extLst>
              <a:ext uri="{FF2B5EF4-FFF2-40B4-BE49-F238E27FC236}">
                <a16:creationId xmlns:a16="http://schemas.microsoft.com/office/drawing/2014/main" id="{2EF7A6A0-5920-53D2-BF00-4609F15F007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549275"/>
            <a:ext cx="105156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1C37170-88AB-D670-3CD1-BF49E7A255B1}"/>
              </a:ext>
            </a:extLst>
          </p:cNvPr>
          <p:cNvSpPr txBox="1">
            <a:spLocks/>
          </p:cNvSpPr>
          <p:nvPr/>
        </p:nvSpPr>
        <p:spPr bwMode="gray">
          <a:xfrm>
            <a:off x="10648950" y="6457950"/>
            <a:ext cx="735013" cy="15398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658D8A2-A20B-AA44-B358-9A0D03381CCD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EBB899C-6A85-7E68-6BBB-C45C77987C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6363"/>
            <a:ext cx="4114800" cy="153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 dirty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  <p:sldLayoutId id="2147483927" r:id="rId31"/>
    <p:sldLayoutId id="2147483928" r:id="rId32"/>
    <p:sldLayoutId id="2147483929" r:id="rId33"/>
    <p:sldLayoutId id="2147483930" r:id="rId34"/>
    <p:sldLayoutId id="2147483931" r:id="rId35"/>
    <p:sldLayoutId id="2147483932" r:id="rId36"/>
    <p:sldLayoutId id="2147483933" r:id="rId37"/>
    <p:sldLayoutId id="2147483934" r:id="rId38"/>
    <p:sldLayoutId id="2147483935" r:id="rId39"/>
    <p:sldLayoutId id="2147483936" r:id="rId40"/>
    <p:sldLayoutId id="2147483937" r:id="rId41"/>
    <p:sldLayoutId id="2147483938" r:id="rId42"/>
    <p:sldLayoutId id="2147483939" r:id="rId43"/>
    <p:sldLayoutId id="2147483896" r:id="rId44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anose="020B0604020202020204" pitchFamily="34" charset="0"/>
        </a:defRPr>
      </a:lvl9pPr>
    </p:titleStyle>
    <p:bodyStyle>
      <a:lvl1pPr marL="182563" indent="-182563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rgbClr val="262626"/>
          </a:solidFill>
          <a:latin typeface="+mn-lt"/>
          <a:ea typeface="+mn-ea"/>
          <a:cs typeface="+mn-cs"/>
        </a:defRPr>
      </a:lvl1pPr>
      <a:lvl2pPr marL="365125" indent="-182563" algn="l" rtl="0" eaLnBrk="1" fontAlgn="base" hangingPunct="1"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rgbClr val="262626"/>
          </a:solidFill>
          <a:latin typeface="+mn-lt"/>
          <a:ea typeface="+mn-ea"/>
          <a:cs typeface="+mn-cs"/>
        </a:defRPr>
      </a:lvl2pPr>
      <a:lvl3pPr marL="530225" indent="-163513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rgbClr val="262626"/>
          </a:solidFill>
          <a:latin typeface="+mn-lt"/>
          <a:ea typeface="+mn-ea"/>
          <a:cs typeface="+mn-cs"/>
        </a:defRPr>
      </a:lvl3pPr>
      <a:lvl4pPr marL="687388" indent="-171450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262626"/>
          </a:solidFill>
          <a:latin typeface="+mn-lt"/>
          <a:ea typeface="+mn-ea"/>
          <a:cs typeface="+mn-cs"/>
        </a:defRPr>
      </a:lvl4pPr>
      <a:lvl5pPr marL="857250" indent="-171450" algn="l" rtl="0" eaLnBrk="1" fontAlgn="base" hangingPunct="1">
        <a:lnSpc>
          <a:spcPct val="90000"/>
        </a:lnSpc>
        <a:spcBef>
          <a:spcPts val="200"/>
        </a:spcBef>
        <a:spcAft>
          <a:spcPts val="400"/>
        </a:spcAft>
        <a:buClr>
          <a:srgbClr val="FF0000"/>
        </a:buClr>
        <a:buFont typeface="Arial" panose="020B0604020202020204" pitchFamily="34" charset="0"/>
        <a:buChar char="•"/>
        <a:defRPr lang="en-US" sz="1200" kern="1200" dirty="0">
          <a:solidFill>
            <a:srgbClr val="262626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spc="6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microsoft.com/office/2007/relationships/hdphoto" Target="../media/hdphoto1.wdp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svg"/><Relationship Id="rId10" Type="http://schemas.openxmlformats.org/officeDocument/2006/relationships/image" Target="../media/image19.sv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www.3millid.com/cards/" TargetMode="Externa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3.svg"/><Relationship Id="rId7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microsoft.com/office/2007/relationships/hdphoto" Target="../media/hdphoto1.wdp"/><Relationship Id="rId10" Type="http://schemas.openxmlformats.org/officeDocument/2006/relationships/image" Target="../media/image28.svg"/><Relationship Id="rId4" Type="http://schemas.openxmlformats.org/officeDocument/2006/relationships/image" Target="../media/image12.png"/><Relationship Id="rId9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D7A8F-523E-5313-8A6D-BE19AC4A16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tendance System using Company Badge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4012578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F9ACF-2059-DBAC-8C58-410510DB8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48640"/>
            <a:ext cx="10515600" cy="738664"/>
          </a:xfrm>
        </p:spPr>
        <p:txBody>
          <a:bodyPr/>
          <a:lstStyle/>
          <a:p>
            <a:r>
              <a:rPr lang="en-US" dirty="0"/>
              <a:t>Record attendance in Excel name list</a:t>
            </a:r>
            <a:br>
              <a:rPr lang="en-MY" dirty="0"/>
            </a:br>
            <a:endParaRPr lang="en-MY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6CE91B-8BFE-7EFA-431F-73A0A13D90B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Block Diagram</a:t>
            </a:r>
            <a:endParaRPr lang="en-MY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417ECD-D4C5-7F2C-D45C-5898E433858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9011" t="12563" r="18210" b="14771"/>
          <a:stretch/>
        </p:blipFill>
        <p:spPr>
          <a:xfrm>
            <a:off x="2230746" y="3427859"/>
            <a:ext cx="938582" cy="1086405"/>
          </a:xfrm>
          <a:prstGeom prst="rect">
            <a:avLst/>
          </a:prstGeom>
        </p:spPr>
      </p:pic>
      <p:pic>
        <p:nvPicPr>
          <p:cNvPr id="6" name="Graphic 5" descr="Laptop outline">
            <a:extLst>
              <a:ext uri="{FF2B5EF4-FFF2-40B4-BE49-F238E27FC236}">
                <a16:creationId xmlns:a16="http://schemas.microsoft.com/office/drawing/2014/main" id="{D30C759F-14BC-8A4B-651A-8EF1B7A02E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81582" y="2937028"/>
            <a:ext cx="2084773" cy="20847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45ABEFC-39BB-549C-E112-625D2630A3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68494" y="3605610"/>
            <a:ext cx="947466" cy="730902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DBB11B6-E279-97B2-FA37-66B7D2C3E5FF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3169328" y="3971062"/>
            <a:ext cx="2612254" cy="83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F9D1F72-1352-94A6-ADA3-DD178F659BE5}"/>
              </a:ext>
            </a:extLst>
          </p:cNvPr>
          <p:cNvSpPr txBox="1"/>
          <p:nvPr/>
        </p:nvSpPr>
        <p:spPr>
          <a:xfrm>
            <a:off x="3509752" y="4027186"/>
            <a:ext cx="20197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mployee N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mployee I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765327-5966-386A-E2EA-24213E944B8B}"/>
              </a:ext>
            </a:extLst>
          </p:cNvPr>
          <p:cNvSpPr txBox="1"/>
          <p:nvPr/>
        </p:nvSpPr>
        <p:spPr>
          <a:xfrm>
            <a:off x="3332701" y="3032599"/>
            <a:ext cx="21967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ATA EXTRACTION &amp; PROCESSING</a:t>
            </a:r>
          </a:p>
        </p:txBody>
      </p:sp>
      <p:pic>
        <p:nvPicPr>
          <p:cNvPr id="11" name="Graphic 10" descr="Employee badge outline">
            <a:extLst>
              <a:ext uri="{FF2B5EF4-FFF2-40B4-BE49-F238E27FC236}">
                <a16:creationId xmlns:a16="http://schemas.microsoft.com/office/drawing/2014/main" id="{CD45AC49-71D0-8A5B-6E98-ADAA5ED3A3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9119" y="2036250"/>
            <a:ext cx="827751" cy="827751"/>
          </a:xfrm>
          <a:prstGeom prst="rect">
            <a:avLst/>
          </a:prstGeom>
        </p:spPr>
      </p:pic>
      <p:cxnSp>
        <p:nvCxnSpPr>
          <p:cNvPr id="12" name="Connector: Curved 11">
            <a:extLst>
              <a:ext uri="{FF2B5EF4-FFF2-40B4-BE49-F238E27FC236}">
                <a16:creationId xmlns:a16="http://schemas.microsoft.com/office/drawing/2014/main" id="{3530606A-CEB2-5AFB-F853-062AE00E0185}"/>
              </a:ext>
            </a:extLst>
          </p:cNvPr>
          <p:cNvCxnSpPr>
            <a:cxnSpLocks/>
            <a:stCxn id="11" idx="3"/>
            <a:endCxn id="5" idx="0"/>
          </p:cNvCxnSpPr>
          <p:nvPr/>
        </p:nvCxnSpPr>
        <p:spPr>
          <a:xfrm>
            <a:off x="1816870" y="2450126"/>
            <a:ext cx="883167" cy="977733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21CBCBA-7886-84FC-BF04-B420E63F07EA}"/>
              </a:ext>
            </a:extLst>
          </p:cNvPr>
          <p:cNvSpPr txBox="1"/>
          <p:nvPr/>
        </p:nvSpPr>
        <p:spPr>
          <a:xfrm>
            <a:off x="2459868" y="2450126"/>
            <a:ext cx="938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CAN</a:t>
            </a:r>
          </a:p>
        </p:txBody>
      </p:sp>
      <p:pic>
        <p:nvPicPr>
          <p:cNvPr id="14" name="Graphic 13" descr="Wi-Fi outline">
            <a:extLst>
              <a:ext uri="{FF2B5EF4-FFF2-40B4-BE49-F238E27FC236}">
                <a16:creationId xmlns:a16="http://schemas.microsoft.com/office/drawing/2014/main" id="{88673137-5B97-9AD1-5B2F-540FB63524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9219326">
            <a:off x="1928844" y="3225183"/>
            <a:ext cx="548734" cy="548734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732FFAA-1237-E860-15D4-0A9045C85097}"/>
              </a:ext>
            </a:extLst>
          </p:cNvPr>
          <p:cNvCxnSpPr>
            <a:cxnSpLocks/>
            <a:stCxn id="6" idx="3"/>
          </p:cNvCxnSpPr>
          <p:nvPr/>
        </p:nvCxnSpPr>
        <p:spPr>
          <a:xfrm flipV="1">
            <a:off x="7866355" y="3979414"/>
            <a:ext cx="178931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7A1F46F-8296-82AB-BF24-83179F2D9028}"/>
              </a:ext>
            </a:extLst>
          </p:cNvPr>
          <p:cNvSpPr txBox="1"/>
          <p:nvPr/>
        </p:nvSpPr>
        <p:spPr>
          <a:xfrm>
            <a:off x="8144007" y="3590662"/>
            <a:ext cx="124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COR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AEB7AB-2A01-1C46-8E3A-D2E146E3AD8E}"/>
              </a:ext>
            </a:extLst>
          </p:cNvPr>
          <p:cNvSpPr txBox="1"/>
          <p:nvPr/>
        </p:nvSpPr>
        <p:spPr>
          <a:xfrm>
            <a:off x="8021645" y="3998835"/>
            <a:ext cx="15573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imesta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ttendanc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D290177-47A7-7FCB-6752-56AF687634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5219" y="3681934"/>
            <a:ext cx="477498" cy="523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8153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E90E6-17DC-8958-DA9F-DF88C482A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</a:t>
            </a:r>
            <a:endParaRPr lang="en-MY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FCA965-ADF0-B316-8EA3-8E8AC902A7D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1. Frequency of RFID card and RFID scanner</a:t>
            </a:r>
            <a:endParaRPr lang="en-MY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E18727-0D92-B270-032D-E8CAFC363EAF}"/>
              </a:ext>
            </a:extLst>
          </p:cNvPr>
          <p:cNvSpPr txBox="1"/>
          <p:nvPr/>
        </p:nvSpPr>
        <p:spPr>
          <a:xfrm>
            <a:off x="1128456" y="3169858"/>
            <a:ext cx="3806301" cy="8720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Company: </a:t>
            </a:r>
            <a:r>
              <a:rPr lang="en-US" b="1" dirty="0"/>
              <a:t>3millID</a:t>
            </a:r>
          </a:p>
          <a:p>
            <a:pPr>
              <a:lnSpc>
                <a:spcPct val="150000"/>
              </a:lnSpc>
            </a:pPr>
            <a:r>
              <a:rPr lang="en-US" dirty="0"/>
              <a:t>Frequency: 125 kHz or 13.65 MHz</a:t>
            </a:r>
          </a:p>
        </p:txBody>
      </p:sp>
      <p:pic>
        <p:nvPicPr>
          <p:cNvPr id="9" name="Picture 8" descr="A white card with text and a white label&#10;&#10;Description automatically generated with medium confidence">
            <a:hlinkClick r:id="rId2"/>
            <a:extLst>
              <a:ext uri="{FF2B5EF4-FFF2-40B4-BE49-F238E27FC236}">
                <a16:creationId xmlns:a16="http://schemas.microsoft.com/office/drawing/2014/main" id="{0864482E-0F15-C67C-1749-B2888DD54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4656" y="2034937"/>
            <a:ext cx="5731510" cy="3434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890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17F62-7AB4-1974-828C-095E0BC75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</a:t>
            </a:r>
            <a:endParaRPr lang="en-MY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281CC-0FA8-F66D-7DBC-1005611DC6E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2. Output of RFID scanner after scanning badge</a:t>
            </a:r>
            <a:endParaRPr lang="en-MY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00268F-CAEA-C09B-32FE-3FD07FDE96E0}"/>
              </a:ext>
            </a:extLst>
          </p:cNvPr>
          <p:cNvGrpSpPr/>
          <p:nvPr/>
        </p:nvGrpSpPr>
        <p:grpSpPr>
          <a:xfrm>
            <a:off x="9153102" y="4311421"/>
            <a:ext cx="2154321" cy="1338307"/>
            <a:chOff x="8412325" y="4421080"/>
            <a:chExt cx="2418432" cy="1495088"/>
          </a:xfrm>
        </p:grpSpPr>
        <p:pic>
          <p:nvPicPr>
            <p:cNvPr id="10" name="Graphic 9" descr="Warning outline">
              <a:extLst>
                <a:ext uri="{FF2B5EF4-FFF2-40B4-BE49-F238E27FC236}">
                  <a16:creationId xmlns:a16="http://schemas.microsoft.com/office/drawing/2014/main" id="{501FE56F-394D-815B-1245-5392E5BB0D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558074" y="4467688"/>
              <a:ext cx="517851" cy="51785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A9C1915-3561-7A1F-C836-9426FDF8B9CF}"/>
                </a:ext>
              </a:extLst>
            </p:cNvPr>
            <p:cNvSpPr txBox="1"/>
            <p:nvPr/>
          </p:nvSpPr>
          <p:spPr>
            <a:xfrm>
              <a:off x="8558075" y="4529832"/>
              <a:ext cx="2050742" cy="12584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         </a:t>
              </a:r>
              <a:r>
                <a: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Might require security access to company database</a:t>
              </a:r>
              <a:endParaRPr lang="en-MY" sz="1600" dirty="0" err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0F3687C4-BB28-95B4-144E-F562FD20CE3E}"/>
                </a:ext>
              </a:extLst>
            </p:cNvPr>
            <p:cNvSpPr/>
            <p:nvPr/>
          </p:nvSpPr>
          <p:spPr>
            <a:xfrm>
              <a:off x="8412325" y="4421080"/>
              <a:ext cx="2418432" cy="1495088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MY" dirty="0" err="1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9FBEAA8F-DE33-BE32-D7D3-0ADDF33929E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9011" t="12563" r="18210" b="14771"/>
          <a:stretch/>
        </p:blipFill>
        <p:spPr>
          <a:xfrm>
            <a:off x="1371804" y="2757169"/>
            <a:ext cx="938582" cy="1086405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D52F004-DD51-2B17-C4EC-C2D500CE66CC}"/>
              </a:ext>
            </a:extLst>
          </p:cNvPr>
          <p:cNvCxnSpPr>
            <a:cxnSpLocks/>
            <a:stCxn id="14" idx="3"/>
            <a:endCxn id="19" idx="1"/>
          </p:cNvCxnSpPr>
          <p:nvPr/>
        </p:nvCxnSpPr>
        <p:spPr>
          <a:xfrm flipV="1">
            <a:off x="2310386" y="2182109"/>
            <a:ext cx="1526959" cy="11182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B8224BD-1757-08AD-CC1A-A605E6C4257A}"/>
              </a:ext>
            </a:extLst>
          </p:cNvPr>
          <p:cNvCxnSpPr>
            <a:cxnSpLocks/>
            <a:stCxn id="14" idx="3"/>
            <a:endCxn id="22" idx="1"/>
          </p:cNvCxnSpPr>
          <p:nvPr/>
        </p:nvCxnSpPr>
        <p:spPr>
          <a:xfrm>
            <a:off x="2310386" y="3300372"/>
            <a:ext cx="1512208" cy="1310861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5927C4CC-FE79-92EF-6B77-0143CAAD9E12}"/>
              </a:ext>
            </a:extLst>
          </p:cNvPr>
          <p:cNvSpPr txBox="1"/>
          <p:nvPr/>
        </p:nvSpPr>
        <p:spPr>
          <a:xfrm>
            <a:off x="3837345" y="2029847"/>
            <a:ext cx="4312355" cy="3045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et employee name and ID</a:t>
            </a:r>
            <a:endParaRPr lang="en-MY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2F24B7E5-91FD-E498-7D1B-D81217B7F6AC}"/>
                  </a:ext>
                </a:extLst>
              </p:cNvPr>
              <p:cNvSpPr txBox="1"/>
              <p:nvPr/>
            </p:nvSpPr>
            <p:spPr>
              <a:xfrm>
                <a:off x="3822594" y="3975763"/>
                <a:ext cx="4443567" cy="12709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Get a string of identification number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US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requires database to get employee name and ID</a:t>
                </a:r>
                <a:endParaRPr lang="en-MY" dirty="0" err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2F24B7E5-91FD-E498-7D1B-D81217B7F6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2594" y="3975763"/>
                <a:ext cx="4443567" cy="1270940"/>
              </a:xfrm>
              <a:prstGeom prst="rect">
                <a:avLst/>
              </a:prstGeom>
              <a:blipFill>
                <a:blip r:embed="rId6"/>
                <a:stretch>
                  <a:fillRect r="-1372" b="-4785"/>
                </a:stretch>
              </a:blipFill>
            </p:spPr>
            <p:txBody>
              <a:bodyPr/>
              <a:lstStyle/>
              <a:p>
                <a:r>
                  <a:rPr lang="en-MY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9" name="Graphic 28" descr="Badge Cross outline">
            <a:extLst>
              <a:ext uri="{FF2B5EF4-FFF2-40B4-BE49-F238E27FC236}">
                <a16:creationId xmlns:a16="http://schemas.microsoft.com/office/drawing/2014/main" id="{1E97C25D-27A5-CD29-1691-DB70F63B12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66163" y="4104565"/>
            <a:ext cx="548015" cy="548015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1F7CA573-B034-EC41-81FB-B893C78C26C6}"/>
              </a:ext>
            </a:extLst>
          </p:cNvPr>
          <p:cNvGrpSpPr/>
          <p:nvPr/>
        </p:nvGrpSpPr>
        <p:grpSpPr>
          <a:xfrm>
            <a:off x="8315661" y="1931920"/>
            <a:ext cx="389059" cy="389059"/>
            <a:chOff x="7562280" y="2945246"/>
            <a:chExt cx="738988" cy="738988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3873E4D-B1C5-01AA-E853-DB59A1183780}"/>
                </a:ext>
              </a:extLst>
            </p:cNvPr>
            <p:cNvSpPr/>
            <p:nvPr/>
          </p:nvSpPr>
          <p:spPr>
            <a:xfrm>
              <a:off x="7562280" y="2945246"/>
              <a:ext cx="738988" cy="738988"/>
            </a:xfrm>
            <a:prstGeom prst="ellipse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MY" dirty="0" err="1"/>
            </a:p>
          </p:txBody>
        </p:sp>
        <p:pic>
          <p:nvPicPr>
            <p:cNvPr id="31" name="Graphic 30" descr="Checkmark outline">
              <a:extLst>
                <a:ext uri="{FF2B5EF4-FFF2-40B4-BE49-F238E27FC236}">
                  <a16:creationId xmlns:a16="http://schemas.microsoft.com/office/drawing/2014/main" id="{2A4E3B4C-2647-D097-8C5F-7539D66E4A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675809" y="3085410"/>
              <a:ext cx="511929" cy="5119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38596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E14B9F-6874-B3A3-814E-2911193A1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  <a:endParaRPr lang="en-MY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772F09-5ABF-3F09-A91D-268C99B43B2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Way to store data</a:t>
            </a:r>
            <a:endParaRPr lang="en-MY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83F2DD-1579-5F08-772F-D8031AD0698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81D28448-F2A2-9DD3-6232-FD46E45760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7605424"/>
              </p:ext>
            </p:extLst>
          </p:nvPr>
        </p:nvGraphicFramePr>
        <p:xfrm>
          <a:off x="1026480" y="2243839"/>
          <a:ext cx="9834239" cy="2370321"/>
        </p:xfrm>
        <a:graphic>
          <a:graphicData uri="http://schemas.openxmlformats.org/drawingml/2006/table">
            <a:tbl>
              <a:tblPr firstRow="1" bandRow="1">
                <a:tableStyleId>{0817EA92-75D0-4044-A80A-286907CE0DDB}</a:tableStyleId>
              </a:tblPr>
              <a:tblGrid>
                <a:gridCol w="4878279">
                  <a:extLst>
                    <a:ext uri="{9D8B030D-6E8A-4147-A177-3AD203B41FA5}">
                      <a16:colId xmlns:a16="http://schemas.microsoft.com/office/drawing/2014/main" val="3430973427"/>
                    </a:ext>
                  </a:extLst>
                </a:gridCol>
                <a:gridCol w="4955960">
                  <a:extLst>
                    <a:ext uri="{9D8B030D-6E8A-4147-A177-3AD203B41FA5}">
                      <a16:colId xmlns:a16="http://schemas.microsoft.com/office/drawing/2014/main" val="723189325"/>
                    </a:ext>
                  </a:extLst>
                </a:gridCol>
              </a:tblGrid>
              <a:tr h="41806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Option</a:t>
                      </a:r>
                      <a:endParaRPr lang="en-MY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Option</a:t>
                      </a:r>
                      <a:endParaRPr lang="en-MY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6345749"/>
                  </a:ext>
                </a:extLst>
              </a:tr>
              <a:tr h="19522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Record employee name and ID with timestamp and attendance in a new Excel fi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200000"/>
                        </a:lnSpc>
                        <a:buFont typeface="+mj-lt"/>
                        <a:buAutoNum type="alphaLcPeriod"/>
                      </a:pPr>
                      <a:r>
                        <a:rPr lang="en-US" dirty="0"/>
                        <a:t>Get employee name and ID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+mj-lt"/>
                        <a:buAutoNum type="alphaLcPeriod"/>
                      </a:pPr>
                      <a:r>
                        <a:rPr lang="en-US" dirty="0"/>
                        <a:t>Compare with name list in Excel / database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+mj-lt"/>
                        <a:buAutoNum type="alphaLcPeriod"/>
                      </a:pPr>
                      <a:r>
                        <a:rPr lang="en-US" dirty="0"/>
                        <a:t>Record timestamp and attendance</a:t>
                      </a:r>
                      <a:endParaRPr lang="en-MY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12463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68800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213A3-0756-77F8-C595-5FACFF421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Improvements</a:t>
            </a:r>
            <a:endParaRPr lang="en-MY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B65FC0-FFFE-BD4E-3267-A202ED7E49A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GUI to initiate/pause scanning and display messages </a:t>
            </a:r>
            <a:endParaRPr lang="en-MY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A57149-CE45-2B5E-065D-0F39CAE429F6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2" name="Graphic 11" descr="Ui Ux outline">
            <a:extLst>
              <a:ext uri="{FF2B5EF4-FFF2-40B4-BE49-F238E27FC236}">
                <a16:creationId xmlns:a16="http://schemas.microsoft.com/office/drawing/2014/main" id="{5599C062-2F0C-2077-BF40-C7D1065A96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78619" y="2341484"/>
            <a:ext cx="2067017" cy="206701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FCBC36D-30F7-2D56-CC22-C0735738CC5A}"/>
              </a:ext>
            </a:extLst>
          </p:cNvPr>
          <p:cNvSpPr txBox="1"/>
          <p:nvPr/>
        </p:nvSpPr>
        <p:spPr>
          <a:xfrm>
            <a:off x="1278384" y="4527610"/>
            <a:ext cx="3124940" cy="2929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raphical User Interface (GUI)</a:t>
            </a:r>
            <a:endParaRPr lang="en-MY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E4BC53-A690-41D0-CD69-8B09DFBE6AF2}"/>
              </a:ext>
            </a:extLst>
          </p:cNvPr>
          <p:cNvSpPr txBox="1"/>
          <p:nvPr/>
        </p:nvSpPr>
        <p:spPr>
          <a:xfrm>
            <a:off x="5072848" y="2847086"/>
            <a:ext cx="6161103" cy="12606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dd in start / stop scanning button</a:t>
            </a:r>
          </a:p>
          <a:p>
            <a:pPr marL="342900" indent="-342900" algn="l">
              <a:buFont typeface="+mj-lt"/>
              <a:buAutoNum type="arabicPeriod"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splay success message when information is recorded in database (Excel sheet)</a:t>
            </a:r>
            <a:endParaRPr lang="en-MY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151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22 Keysight Widescreen Template">
  <a:themeElements>
    <a:clrScheme name="Custom 2">
      <a:dk1>
        <a:srgbClr val="000000"/>
      </a:dk1>
      <a:lt1>
        <a:srgbClr val="FFFFFF"/>
      </a:lt1>
      <a:dk2>
        <a:srgbClr val="97999B"/>
      </a:dk2>
      <a:lt2>
        <a:srgbClr val="F2A900"/>
      </a:lt2>
      <a:accent1>
        <a:srgbClr val="E90029"/>
      </a:accent1>
      <a:accent2>
        <a:srgbClr val="009245"/>
      </a:accent2>
      <a:accent3>
        <a:srgbClr val="9B26B6"/>
      </a:accent3>
      <a:accent4>
        <a:srgbClr val="071D49"/>
      </a:accent4>
      <a:accent5>
        <a:srgbClr val="426DA9"/>
      </a:accent5>
      <a:accent6>
        <a:srgbClr val="63B1BC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May_Template_2023" id="{B1F17BD7-753A-4779-907B-1DA045A72895}" vid="{3537A46A-2CCF-4B62-A0F9-C61A0073EA55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B2A692FFBCCF438876265A54FFF8A5" ma:contentTypeVersion="17" ma:contentTypeDescription="Create a new document." ma:contentTypeScope="" ma:versionID="0386a7de5b52e9f5aab0a812c1cf129b">
  <xsd:schema xmlns:xsd="http://www.w3.org/2001/XMLSchema" xmlns:xs="http://www.w3.org/2001/XMLSchema" xmlns:p="http://schemas.microsoft.com/office/2006/metadata/properties" xmlns:ns1="http://schemas.microsoft.com/sharepoint/v3" xmlns:ns2="7d6680e4-7d33-4e0e-bd96-64da7162e107" xmlns:ns3="c1b2c0f3-a129-44c5-acd5-c8354b2cec1b" xmlns:ns4="509b81ee-eed5-4cc0-bd09-69f178c45f1e" targetNamespace="http://schemas.microsoft.com/office/2006/metadata/properties" ma:root="true" ma:fieldsID="04b948c6b2d5f1c5274a21d53aff54cc" ns1:_="" ns2:_="" ns3:_="" ns4:_="">
    <xsd:import namespace="http://schemas.microsoft.com/sharepoint/v3"/>
    <xsd:import namespace="7d6680e4-7d33-4e0e-bd96-64da7162e107"/>
    <xsd:import namespace="c1b2c0f3-a129-44c5-acd5-c8354b2cec1b"/>
    <xsd:import namespace="509b81ee-eed5-4cc0-bd09-69f178c45f1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6680e4-7d33-4e0e-bd96-64da7162e1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71b4e610-9c4a-4944-b620-b446fb4a28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b2c0f3-a129-44c5-acd5-c8354b2cec1b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9b81ee-eed5-4cc0-bd09-69f178c45f1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991d0900-f9cb-42fb-81e1-893d82dff1ff}" ma:internalName="TaxCatchAll" ma:showField="CatchAllData" ma:web="0eec736e-2fdc-46aa-9f4b-1948c2090d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TaxCatchAll xmlns="509b81ee-eed5-4cc0-bd09-69f178c45f1e" xsi:nil="true"/>
    <lcf76f155ced4ddcb4097134ff3c332f xmlns="7d6680e4-7d33-4e0e-bd96-64da7162e10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24C61C5-4B44-40D0-B80A-53165299EBA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F185903-9C7B-4AD5-B6B3-ECE996AE01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d6680e4-7d33-4e0e-bd96-64da7162e107"/>
    <ds:schemaRef ds:uri="c1b2c0f3-a129-44c5-acd5-c8354b2cec1b"/>
    <ds:schemaRef ds:uri="509b81ee-eed5-4cc0-bd09-69f178c45f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F557FDC-6B69-4AF4-9507-5607DAB1E8F5}">
  <ds:schemaRefs>
    <ds:schemaRef ds:uri="http://schemas.microsoft.com/sharepoint/v3"/>
    <ds:schemaRef ds:uri="http://www.w3.org/XML/1998/namespace"/>
    <ds:schemaRef ds:uri="http://purl.org/dc/terms/"/>
    <ds:schemaRef ds:uri="7d6680e4-7d33-4e0e-bd96-64da7162e107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509b81ee-eed5-4cc0-bd09-69f178c45f1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FID Attendance System Introduction</Template>
  <TotalTime>5</TotalTime>
  <Words>161</Words>
  <Application>Microsoft Office PowerPoint</Application>
  <PresentationFormat>Widescreen</PresentationFormat>
  <Paragraphs>33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Arial Bold</vt:lpstr>
      <vt:lpstr>Cambria Math</vt:lpstr>
      <vt:lpstr>2022 Keysight Widescreen Template</vt:lpstr>
      <vt:lpstr>Attendance System using Company Badge</vt:lpstr>
      <vt:lpstr>Record attendance in Excel name list </vt:lpstr>
      <vt:lpstr>Challenges</vt:lpstr>
      <vt:lpstr>Challenges</vt:lpstr>
      <vt:lpstr>Questions</vt:lpstr>
      <vt:lpstr>Future Improv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tendance System using Company Badge</dc:title>
  <dc:creator>Yung Jia Ng</dc:creator>
  <cp:lastModifiedBy>Yung Jia Ng</cp:lastModifiedBy>
  <cp:revision>1</cp:revision>
  <dcterms:created xsi:type="dcterms:W3CDTF">2023-08-08T07:54:17Z</dcterms:created>
  <dcterms:modified xsi:type="dcterms:W3CDTF">2023-08-08T07:5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B2A692FFBCCF438876265A54FFF8A5</vt:lpwstr>
  </property>
</Properties>
</file>